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  <p:sldMasterId id="2147483677" r:id="rId2"/>
  </p:sldMasterIdLst>
  <p:notesMasterIdLst>
    <p:notesMasterId r:id="rId8"/>
  </p:notesMasterIdLst>
  <p:handoutMasterIdLst>
    <p:handoutMasterId r:id="rId9"/>
  </p:handoutMasterIdLst>
  <p:sldIdLst>
    <p:sldId id="288" r:id="rId3"/>
    <p:sldId id="289" r:id="rId4"/>
    <p:sldId id="290" r:id="rId5"/>
    <p:sldId id="292" r:id="rId6"/>
    <p:sldId id="293" r:id="rId7"/>
  </p:sldIdLst>
  <p:sldSz cx="9144000" cy="6858000" type="letter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E41"/>
    <a:srgbClr val="E7E7E7"/>
    <a:srgbClr val="2485ED"/>
    <a:srgbClr val="6C17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05" autoAdjust="0"/>
    <p:restoredTop sz="96801" autoAdjust="0"/>
  </p:normalViewPr>
  <p:slideViewPr>
    <p:cSldViewPr snapToGrid="0" snapToObjects="1">
      <p:cViewPr varScale="1">
        <p:scale>
          <a:sx n="72" d="100"/>
          <a:sy n="72" d="100"/>
        </p:scale>
        <p:origin x="1344" y="90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4" d="100"/>
        <a:sy n="104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B006B0-55B5-A94B-972C-DE525CA2EB25}" type="datetime1">
              <a:rPr lang="en-US" smtClean="0"/>
              <a:t>5/18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31B5B2-D6C0-A546-8F0A-27543F67F0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857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40FF39-401E-6444-B1F5-76F9F2BA9CD5}" type="datetime1">
              <a:rPr lang="en-US" smtClean="0"/>
              <a:t>5/18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F521B3-8F2F-8E4A-B255-8BA8EDCE80E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2198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501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1602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9E0-E2DF-455A-8CF0-BA7CD71D5857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3477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1.bin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84596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7704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7597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85800" y="2915735"/>
            <a:ext cx="7410450" cy="14953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0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95325" y="4922799"/>
            <a:ext cx="6477000" cy="57206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1" name="Text Placehold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5800" y="1032933"/>
            <a:ext cx="7410450" cy="183726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39"/>
          <p:cNvGrpSpPr>
            <a:grpSpLocks noChangeAspect="1"/>
          </p:cNvGrpSpPr>
          <p:nvPr userDrawn="1"/>
        </p:nvGrpSpPr>
        <p:grpSpPr>
          <a:xfrm>
            <a:off x="762008" y="5875869"/>
            <a:ext cx="7616919" cy="414867"/>
            <a:chOff x="762001" y="4540250"/>
            <a:chExt cx="7434072" cy="300993"/>
          </a:xfrm>
        </p:grpSpPr>
        <p:pic>
          <p:nvPicPr>
            <p:cNvPr id="41" name="Picture 40" descr="6logo_lockup_GREY_EVEN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001" y="4540250"/>
              <a:ext cx="7434072" cy="295305"/>
            </a:xfrm>
            <a:prstGeom prst="rect">
              <a:avLst/>
            </a:prstGeom>
          </p:spPr>
        </p:pic>
        <p:pic>
          <p:nvPicPr>
            <p:cNvPr id="42" name="Picture 41" descr="6logo_lockup_GREY_EVEN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85164" y="4580069"/>
              <a:ext cx="860425" cy="2611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64843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2121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2121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226485"/>
            <a:ext cx="8377238" cy="1272116"/>
          </a:xfrm>
          <a:prstGeom prst="rect">
            <a:avLst/>
          </a:prstGeom>
        </p:spPr>
        <p:txBody>
          <a:bodyPr lIns="0" tIns="0" rIns="0" bIns="45716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8313422" y="6578600"/>
            <a:ext cx="447993" cy="27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6214648"/>
            <a:ext cx="8377238" cy="338554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6" y="6656745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Footer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7" y="8221"/>
            <a:ext cx="3019425" cy="215444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7948360" y="-23777"/>
            <a:ext cx="813052" cy="257115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64296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915735"/>
            <a:ext cx="6597502" cy="1495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95325" y="4922800"/>
            <a:ext cx="6477000" cy="57206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32933"/>
            <a:ext cx="6597502" cy="183726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5"/>
          <p:cNvGrpSpPr/>
          <p:nvPr/>
        </p:nvGrpSpPr>
        <p:grpSpPr>
          <a:xfrm>
            <a:off x="7514711" y="770467"/>
            <a:ext cx="1050204" cy="5486400"/>
            <a:chOff x="7637827" y="577850"/>
            <a:chExt cx="1050204" cy="4114800"/>
          </a:xfrm>
        </p:grpSpPr>
        <p:pic>
          <p:nvPicPr>
            <p:cNvPr id="20" name="Picture 19" descr="6logo_lockup_GREY_EVEN_VERT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37827" y="577850"/>
              <a:ext cx="1050204" cy="4114800"/>
            </a:xfrm>
            <a:prstGeom prst="rect">
              <a:avLst/>
            </a:prstGeom>
          </p:spPr>
        </p:pic>
        <p:pic>
          <p:nvPicPr>
            <p:cNvPr id="21" name="Picture 20" descr="6logo_lockup_GREY_EVEN_VERT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37827" y="3587750"/>
              <a:ext cx="1050204" cy="4000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86649547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915735"/>
            <a:ext cx="7410450" cy="14953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95325" y="4922799"/>
            <a:ext cx="6477000" cy="57206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32933"/>
            <a:ext cx="7410450" cy="183726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2" name="Group 39"/>
          <p:cNvGrpSpPr>
            <a:grpSpLocks noChangeAspect="1"/>
          </p:cNvGrpSpPr>
          <p:nvPr/>
        </p:nvGrpSpPr>
        <p:grpSpPr>
          <a:xfrm>
            <a:off x="762008" y="5875869"/>
            <a:ext cx="7616919" cy="414867"/>
            <a:chOff x="762001" y="4540250"/>
            <a:chExt cx="7434072" cy="300993"/>
          </a:xfrm>
        </p:grpSpPr>
        <p:pic>
          <p:nvPicPr>
            <p:cNvPr id="41" name="Picture 40" descr="6logo_lockup_GREY_EVEN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001" y="4540250"/>
              <a:ext cx="7434072" cy="295305"/>
            </a:xfrm>
            <a:prstGeom prst="rect">
              <a:avLst/>
            </a:prstGeom>
          </p:spPr>
        </p:pic>
        <p:pic>
          <p:nvPicPr>
            <p:cNvPr id="42" name="Picture 41" descr="6logo_lockup_GREY_EVEN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85164" y="4580069"/>
              <a:ext cx="860425" cy="261174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915735"/>
            <a:ext cx="7410450" cy="14953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95325" y="4922799"/>
            <a:ext cx="6477000" cy="57206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32933"/>
            <a:ext cx="7410450" cy="183726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grpSp>
        <p:nvGrpSpPr>
          <p:cNvPr id="11" name="Group 39"/>
          <p:cNvGrpSpPr>
            <a:grpSpLocks noChangeAspect="1"/>
          </p:cNvGrpSpPr>
          <p:nvPr userDrawn="1"/>
        </p:nvGrpSpPr>
        <p:grpSpPr>
          <a:xfrm>
            <a:off x="762008" y="5875869"/>
            <a:ext cx="7616919" cy="414867"/>
            <a:chOff x="762001" y="4540250"/>
            <a:chExt cx="7434072" cy="300993"/>
          </a:xfrm>
        </p:grpSpPr>
        <p:pic>
          <p:nvPicPr>
            <p:cNvPr id="12" name="Picture 11" descr="6logo_lockup_GREY_EVEN_01.2016.png"/>
            <p:cNvPicPr>
              <a:picLocks noChangeAspect="1"/>
            </p:cNvPicPr>
            <p:nvPr userDrawn="1"/>
          </p:nvPicPr>
          <p:blipFill>
            <a:blip r:embed="rId2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001" y="4540250"/>
              <a:ext cx="7434072" cy="295305"/>
            </a:xfrm>
            <a:prstGeom prst="rect">
              <a:avLst/>
            </a:prstGeom>
          </p:spPr>
        </p:pic>
        <p:pic>
          <p:nvPicPr>
            <p:cNvPr id="13" name="Picture 12" descr="6logo_lockup_GREY_EVEN_01.2016.png"/>
            <p:cNvPicPr>
              <a:picLocks noChangeAspect="1"/>
            </p:cNvPicPr>
            <p:nvPr userDrawn="1"/>
          </p:nvPicPr>
          <p:blipFill rotWithShape="1">
            <a:blip r:embed="rId3" cstate="email">
              <a:alphaModFix amt="8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85164" y="4580069"/>
              <a:ext cx="860425" cy="2611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08426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/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219" y="2541433"/>
            <a:ext cx="4129232" cy="286769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4000" cap="all" baseline="0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6445" y="5625400"/>
            <a:ext cx="6477000" cy="5720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000" b="0" kern="0" cap="all" spc="200" baseline="0" dirty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 algn="l"/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8669" y="1839175"/>
            <a:ext cx="8392745" cy="6096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600" b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68690" y="2541431"/>
            <a:ext cx="4192724" cy="2867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4000" cap="all">
                <a:solidFill>
                  <a:schemeClr val="accent1"/>
                </a:solidFill>
                <a:latin typeface="Avenir LT Std 35 Light"/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9321256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/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0" y="1820334"/>
            <a:ext cx="4292600" cy="21844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defRPr sz="3600" cap="all" baseline="0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1000" y="5400373"/>
            <a:ext cx="6477000" cy="5720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900" b="0" kern="0" cap="all" spc="200" baseline="0" dirty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 algn="l"/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1000" y="4093633"/>
            <a:ext cx="7308850" cy="99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400" b="0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6690055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2006600"/>
            <a:ext cx="3733800" cy="29464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lnSpc>
                <a:spcPct val="100000"/>
              </a:lnSpc>
              <a:defRPr sz="400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410200" y="1747486"/>
            <a:ext cx="3657600" cy="3027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5410200" y="2050186"/>
            <a:ext cx="3657600" cy="507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5410200" y="2865101"/>
            <a:ext cx="3657600" cy="3027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5410200" y="3167803"/>
            <a:ext cx="3657600" cy="507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7" hasCustomPrompt="1"/>
          </p:nvPr>
        </p:nvSpPr>
        <p:spPr>
          <a:xfrm>
            <a:off x="5410200" y="3982701"/>
            <a:ext cx="3657600" cy="3027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5410200" y="4285403"/>
            <a:ext cx="3657600" cy="507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9" hasCustomPrompt="1"/>
          </p:nvPr>
        </p:nvSpPr>
        <p:spPr>
          <a:xfrm>
            <a:off x="5410200" y="5125701"/>
            <a:ext cx="3657600" cy="3027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20" hasCustomPrompt="1"/>
          </p:nvPr>
        </p:nvSpPr>
        <p:spPr>
          <a:xfrm>
            <a:off x="5410200" y="5428403"/>
            <a:ext cx="3657600" cy="507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half" idx="21" hasCustomPrompt="1"/>
          </p:nvPr>
        </p:nvSpPr>
        <p:spPr>
          <a:xfrm>
            <a:off x="5410200" y="629886"/>
            <a:ext cx="3657600" cy="302703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9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18" name="Content Placeholder 3"/>
          <p:cNvSpPr>
            <a:spLocks noGrp="1"/>
          </p:cNvSpPr>
          <p:nvPr>
            <p:ph sz="half" idx="22" hasCustomPrompt="1"/>
          </p:nvPr>
        </p:nvSpPr>
        <p:spPr>
          <a:xfrm>
            <a:off x="5410200" y="932585"/>
            <a:ext cx="3657600" cy="507999"/>
          </a:xfrm>
          <a:prstGeom prst="rect">
            <a:avLst/>
          </a:prstGeom>
        </p:spPr>
        <p:txBody>
          <a:bodyPr lIns="0" rIns="0">
            <a:noAutofit/>
          </a:bodyPr>
          <a:lstStyle>
            <a:lvl1pPr algn="l">
              <a:defRPr sz="1800" b="0">
                <a:solidFill>
                  <a:schemeClr val="accent1"/>
                </a:solidFill>
                <a:latin typeface="Avenir LT Std 35 Ligh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</a:t>
            </a:r>
            <a:endParaRPr lang="en-GB" dirty="0"/>
          </a:p>
        </p:txBody>
      </p:sp>
      <p:sp>
        <p:nvSpPr>
          <p:cNvPr id="2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6" y="6656745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8313422" y="6578600"/>
            <a:ext cx="447993" cy="27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9011472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3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26484"/>
            <a:ext cx="8380413" cy="533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8310" y="2476505"/>
            <a:ext cx="2209800" cy="269716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467100" y="2476505"/>
            <a:ext cx="2209800" cy="269716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495890" y="2476505"/>
            <a:ext cx="2209800" cy="269716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600" b="0">
                <a:solidFill>
                  <a:schemeClr val="accent3"/>
                </a:solidFill>
                <a:latin typeface="Avenir LT Std 35 Light"/>
              </a:defRPr>
            </a:lvl1pPr>
            <a:lvl2pPr marL="457154" indent="0" algn="l">
              <a:buNone/>
              <a:defRPr sz="1800">
                <a:solidFill>
                  <a:schemeClr val="accent3"/>
                </a:solidFill>
                <a:latin typeface="AvenirNext LT Pro Regular" pitchFamily="34" charset="0"/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2" y="759883"/>
            <a:ext cx="8380413" cy="10149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5" name="Rectangle 14"/>
          <p:cNvSpPr/>
          <p:nvPr/>
        </p:nvSpPr>
        <p:spPr>
          <a:xfrm>
            <a:off x="8313422" y="6578600"/>
            <a:ext cx="447993" cy="27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6306981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6" y="6656745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7" y="54387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361583" y="31319"/>
            <a:ext cx="399829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1033578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4853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&amp; Content">
    <p:bg>
      <p:bgPr>
        <a:solidFill>
          <a:schemeClr val="accent3">
            <a:alpha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1905000" y="0"/>
            <a:ext cx="5029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</a:t>
            </a:r>
            <a:br>
              <a:rPr lang="en-GB" dirty="0"/>
            </a:br>
            <a:r>
              <a:rPr lang="en-GB" dirty="0"/>
              <a:t>in this grey area, </a:t>
            </a:r>
            <a:br>
              <a:rPr lang="en-GB" dirty="0"/>
            </a:br>
            <a:r>
              <a:rPr lang="en-GB" dirty="0"/>
              <a:t>crop accordingly </a:t>
            </a:r>
            <a:br>
              <a:rPr lang="en-GB" dirty="0"/>
            </a:br>
            <a:r>
              <a:rPr lang="en-GB" dirty="0"/>
              <a:t>and then delete </a:t>
            </a:r>
            <a:br>
              <a:rPr lang="en-GB" dirty="0"/>
            </a:br>
            <a:r>
              <a:rPr lang="en-GB" dirty="0"/>
              <a:t>this instruction box</a:t>
            </a:r>
          </a:p>
        </p:txBody>
      </p:sp>
    </p:spTree>
    <p:extLst>
      <p:ext uri="{BB962C8B-B14F-4D97-AF65-F5344CB8AC3E}">
        <p14:creationId xmlns:p14="http://schemas.microsoft.com/office/powerpoint/2010/main" val="2709819841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4070" y="1808787"/>
            <a:ext cx="6972880" cy="48629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400" cap="all" baseline="0">
                <a:solidFill>
                  <a:schemeClr val="accent1"/>
                </a:solidFill>
                <a:latin typeface="Avenir LT Std 35 Light"/>
                <a:cs typeface="Avenir LT Std 35 Light"/>
              </a:defRPr>
            </a:lvl1pPr>
            <a:lvl2pPr>
              <a:defRPr sz="5400">
                <a:latin typeface="Avenir Light"/>
                <a:cs typeface="Avenir Light"/>
              </a:defRPr>
            </a:lvl2pPr>
            <a:lvl3pPr>
              <a:defRPr sz="5400">
                <a:latin typeface="Avenir Light"/>
                <a:cs typeface="Avenir Light"/>
              </a:defRPr>
            </a:lvl3pPr>
            <a:lvl4pPr>
              <a:defRPr sz="5400">
                <a:latin typeface="Avenir Light"/>
                <a:cs typeface="Avenir Light"/>
              </a:defRPr>
            </a:lvl4pPr>
            <a:lvl5pPr>
              <a:defRPr sz="5400">
                <a:latin typeface="Avenir Light"/>
                <a:cs typeface="Avenir Light"/>
              </a:defRPr>
            </a:lvl5pPr>
          </a:lstStyle>
          <a:p>
            <a:pPr lvl="0"/>
            <a:r>
              <a:rPr lang="en-GB"/>
              <a:t>CLICK TO ADD QUOTE OR KEY MESSAGE 10-15 WORDS 5 LINES MAX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74072" y="1159935"/>
            <a:ext cx="5375275" cy="5972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900" b="0" i="0" kern="0" cap="all" spc="200">
                <a:solidFill>
                  <a:schemeClr val="accent3"/>
                </a:solidFill>
                <a:latin typeface="Avenir LT Std 95 Black"/>
              </a:defRPr>
            </a:lvl1pPr>
            <a:lvl2pPr>
              <a:defRPr sz="900" b="0" i="0" kern="0" cap="all" spc="100">
                <a:latin typeface="Avenir Black"/>
              </a:defRPr>
            </a:lvl2pPr>
            <a:lvl3pPr>
              <a:defRPr sz="900" b="0" i="0" kern="0" cap="all" spc="100">
                <a:latin typeface="Avenir Black"/>
              </a:defRPr>
            </a:lvl3pPr>
            <a:lvl4pPr>
              <a:defRPr sz="900" b="0" i="0" kern="0" cap="all" spc="100">
                <a:latin typeface="Avenir Black"/>
              </a:defRPr>
            </a:lvl4pPr>
            <a:lvl5pPr>
              <a:defRPr sz="900" b="0" i="0" kern="0" cap="all" spc="100">
                <a:latin typeface="Avenir Black"/>
              </a:defRPr>
            </a:lvl5pPr>
          </a:lstStyle>
          <a:p>
            <a:pPr lvl="0"/>
            <a:r>
              <a:rPr lang="en-GB"/>
              <a:t>CliCK to ADD SUBHEAD IF NEEDED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8313422" y="6578600"/>
            <a:ext cx="447993" cy="27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6" y="6656745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1711403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0114678"/>
              </p:ext>
            </p:extLst>
          </p:nvPr>
        </p:nvGraphicFramePr>
        <p:xfrm>
          <a:off x="1590" y="2121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2121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26483"/>
            <a:ext cx="8380413" cy="533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1" y="759883"/>
            <a:ext cx="8380413" cy="10149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8313422" y="6578600"/>
            <a:ext cx="447993" cy="27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6306981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6" y="6656745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7" y="54387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361583" y="31319"/>
            <a:ext cx="399829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9570789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1" y="759884"/>
            <a:ext cx="8380413" cy="10149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26484"/>
            <a:ext cx="8380413" cy="533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1905000"/>
            <a:ext cx="5375275" cy="406400"/>
          </a:xfrm>
        </p:spPr>
        <p:txBody>
          <a:bodyPr/>
          <a:lstStyle>
            <a:lvl1pPr>
              <a:defRPr sz="900" cap="all" baseline="0">
                <a:solidFill>
                  <a:srgbClr val="5A5D60"/>
                </a:solidFill>
                <a:latin typeface="Avenir LT Std 65 Medium" pitchFamily="34" charset="0"/>
              </a:defRPr>
            </a:lvl1pPr>
            <a:lvl2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2pPr>
            <a:lvl3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3pPr>
            <a:lvl4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4pPr>
            <a:lvl5pPr>
              <a:defRPr sz="900">
                <a:solidFill>
                  <a:srgbClr val="5A5D60"/>
                </a:solidFill>
                <a:latin typeface="Avenir LT Std 65 Medium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/>
          </p:nvPr>
        </p:nvSpPr>
        <p:spPr>
          <a:xfrm>
            <a:off x="384177" y="2396069"/>
            <a:ext cx="4149725" cy="376862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4611689" y="2396069"/>
            <a:ext cx="4149725" cy="376862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4" name="Rectangle 23"/>
          <p:cNvSpPr/>
          <p:nvPr/>
        </p:nvSpPr>
        <p:spPr>
          <a:xfrm>
            <a:off x="8313422" y="6578600"/>
            <a:ext cx="447993" cy="27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84175" y="6306981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6" y="6656745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384177" y="54387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361583" y="31319"/>
            <a:ext cx="399829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5844270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1001" y="228600"/>
            <a:ext cx="8380413" cy="5334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algn="l">
              <a:lnSpc>
                <a:spcPct val="100000"/>
              </a:lnSpc>
              <a:defRPr sz="240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1" y="762000"/>
            <a:ext cx="8380413" cy="9652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1001" y="2378689"/>
            <a:ext cx="8380413" cy="9652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1001" y="1845289"/>
            <a:ext cx="8380413" cy="5334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989321"/>
            <a:ext cx="8380413" cy="9652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3455920"/>
            <a:ext cx="8380413" cy="5334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5602980"/>
            <a:ext cx="8380413" cy="9652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5069579"/>
            <a:ext cx="8380413" cy="5334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2400" b="0" kern="1200" cap="all" dirty="0">
                <a:solidFill>
                  <a:schemeClr val="accent1"/>
                </a:solidFill>
                <a:latin typeface="Avenir LT Std 35 Ligh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16" name="Rectangle 15"/>
          <p:cNvSpPr/>
          <p:nvPr/>
        </p:nvSpPr>
        <p:spPr>
          <a:xfrm>
            <a:off x="8313422" y="6578600"/>
            <a:ext cx="447993" cy="27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6" y="6656745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166488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&amp; Caption Mont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2270760" y="4058946"/>
            <a:ext cx="2301240" cy="28193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6854952" y="4058926"/>
            <a:ext cx="2273808" cy="27990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4572000" y="1250961"/>
            <a:ext cx="2282952" cy="28079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0" y="1250956"/>
            <a:ext cx="2286000" cy="27876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eaLnBrk="1"/>
            <a:endParaRPr lang="en-GB" sz="1600" dirty="0">
              <a:solidFill>
                <a:prstClr val="white"/>
              </a:solidFill>
              <a:latin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365034"/>
            <a:ext cx="2286000" cy="453391"/>
          </a:xfrm>
          <a:prstGeom prst="rect">
            <a:avLst/>
          </a:prstGeom>
        </p:spPr>
        <p:txBody>
          <a:bodyPr lIns="91431" tIns="45716" rIns="91431" bIns="45716" anchor="b"/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2286000" y="1250956"/>
            <a:ext cx="2286000" cy="2787649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0" y="2514600"/>
            <a:ext cx="2286000" cy="64389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0"/>
          </p:nvPr>
        </p:nvSpPr>
        <p:spPr>
          <a:xfrm>
            <a:off x="2286000" y="5318761"/>
            <a:ext cx="2286000" cy="64389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0" y="4038601"/>
            <a:ext cx="2286000" cy="2819399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858000" y="1250956"/>
            <a:ext cx="2286000" cy="2787649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3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00" y="2514600"/>
            <a:ext cx="2286000" cy="64389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4562475" y="4038601"/>
            <a:ext cx="2286000" cy="2819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0">
                <a:latin typeface="Avenir LT Std 35 Light"/>
              </a:defRPr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2" indent="0">
              <a:buNone/>
              <a:defRPr sz="2000"/>
            </a:lvl5pPr>
            <a:lvl6pPr marL="2285766" indent="0">
              <a:buNone/>
              <a:defRPr sz="2000"/>
            </a:lvl6pPr>
            <a:lvl7pPr marL="2742919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r>
              <a:rPr lang="en-GB" dirty="0"/>
              <a:t>Place your picture in this grey area, 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5"/>
          </p:nvPr>
        </p:nvSpPr>
        <p:spPr>
          <a:xfrm>
            <a:off x="6858000" y="5318761"/>
            <a:ext cx="2286000" cy="64389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chemeClr val="accent3"/>
                </a:solidFill>
                <a:latin typeface="Avenir LT Std 35 Light"/>
              </a:defRPr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2" indent="0">
              <a:buNone/>
              <a:defRPr sz="900"/>
            </a:lvl5pPr>
            <a:lvl6pPr marL="2285766" indent="0">
              <a:buNone/>
              <a:defRPr sz="900"/>
            </a:lvl6pPr>
            <a:lvl7pPr marL="2742919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1821179"/>
            <a:ext cx="2286000" cy="42672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0" y="1821179"/>
            <a:ext cx="2286000" cy="42672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8" hasCustomPrompt="1"/>
          </p:nvPr>
        </p:nvSpPr>
        <p:spPr>
          <a:xfrm>
            <a:off x="2286000" y="4714240"/>
            <a:ext cx="2286000" cy="42672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9" hasCustomPrompt="1"/>
          </p:nvPr>
        </p:nvSpPr>
        <p:spPr>
          <a:xfrm>
            <a:off x="6870192" y="4714240"/>
            <a:ext cx="2286000" cy="42672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000" b="0" kern="0" cap="all" spc="200" baseline="0">
                <a:solidFill>
                  <a:schemeClr val="accent3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1411963"/>
            <a:ext cx="2286000" cy="40640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21" hasCustomPrompt="1"/>
          </p:nvPr>
        </p:nvSpPr>
        <p:spPr>
          <a:xfrm>
            <a:off x="2286000" y="4235028"/>
            <a:ext cx="2286000" cy="48768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7" name="Text Placeholder 24"/>
          <p:cNvSpPr>
            <a:spLocks noGrp="1"/>
          </p:cNvSpPr>
          <p:nvPr>
            <p:ph type="body" sz="quarter" idx="22" hasCustomPrompt="1"/>
          </p:nvPr>
        </p:nvSpPr>
        <p:spPr>
          <a:xfrm>
            <a:off x="6870192" y="4232769"/>
            <a:ext cx="2286000" cy="48768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1600" b="0" cap="all">
                <a:solidFill>
                  <a:schemeClr val="accent3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</a:t>
            </a:r>
            <a:endParaRPr lang="en-GB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4572000" y="381000"/>
            <a:ext cx="40386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="0" cap="all">
                <a:solidFill>
                  <a:schemeClr val="accent2"/>
                </a:solidFill>
                <a:latin typeface="Avenir LT Std 95 Black"/>
              </a:defRPr>
            </a:lvl1pPr>
          </a:lstStyle>
          <a:p>
            <a:pPr lvl="0"/>
            <a:r>
              <a:rPr lang="en-GB"/>
              <a:t>CLICK TO EDIT EMPHASIS</a:t>
            </a:r>
            <a:endParaRPr lang="en-GB" dirty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548640" y="381000"/>
            <a:ext cx="403860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="0" cap="all">
                <a:solidFill>
                  <a:schemeClr val="accent1"/>
                </a:solidFill>
                <a:latin typeface="Avenir LT Std 35 Light"/>
              </a:defRPr>
            </a:lvl1pPr>
          </a:lstStyle>
          <a:p>
            <a:pPr lvl="0"/>
            <a:r>
              <a:rPr lang="en-GB"/>
              <a:t>CLICK TO EDIT Headline</a:t>
            </a:r>
            <a:endParaRPr lang="en-GB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384177" y="54387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361583" y="31319"/>
            <a:ext cx="399829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2569485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>
            <a:noAutofit/>
          </a:bodyPr>
          <a:lstStyle>
            <a:lvl1pPr algn="ctr">
              <a:defRPr b="0" i="0" baseline="0">
                <a:latin typeface="Avenir LT Std 35 Light"/>
              </a:defRPr>
            </a:lvl1pPr>
          </a:lstStyle>
          <a:p>
            <a:r>
              <a:rPr lang="en-GB" dirty="0"/>
              <a:t>Place your picture in this grey area, </a:t>
            </a:r>
            <a:br>
              <a:rPr lang="en-GB" dirty="0"/>
            </a:br>
            <a:r>
              <a:rPr lang="en-GB" dirty="0"/>
              <a:t>crop accordingly </a:t>
            </a:r>
            <a:br>
              <a:rPr lang="en-GB" dirty="0"/>
            </a:br>
            <a:r>
              <a:rPr lang="en-GB" dirty="0"/>
              <a:t>and then delete this instruction bo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177" y="1615225"/>
            <a:ext cx="4340225" cy="3494617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defRPr kern="1200" cap="all" baseline="0">
                <a:solidFill>
                  <a:schemeClr val="tx1"/>
                </a:solidFill>
                <a:latin typeface="Avenir LT Std 35 Light"/>
              </a:defRPr>
            </a:lvl1pPr>
          </a:lstStyle>
          <a:p>
            <a:r>
              <a:rPr lang="en-GB"/>
              <a:t>CLICK TO ADD TEXT OVER YOUR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7083320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2966850"/>
              </p:ext>
            </p:extLst>
          </p:nvPr>
        </p:nvGraphicFramePr>
        <p:xfrm>
          <a:off x="1590" y="2121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2121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226485"/>
            <a:ext cx="8377238" cy="1272116"/>
          </a:xfrm>
          <a:prstGeom prst="rect">
            <a:avLst/>
          </a:prstGeom>
        </p:spPr>
        <p:txBody>
          <a:bodyPr lIns="0" tIns="0" rIns="0" bIns="45716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8313422" y="6578600"/>
            <a:ext cx="447993" cy="27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6306981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6" y="6656745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Footer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7" y="54387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361583" y="31319"/>
            <a:ext cx="399829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90" y="2121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2121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8313422" y="6578600"/>
            <a:ext cx="447993" cy="27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63300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226485"/>
            <a:ext cx="8377238" cy="1272116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>
                <a:latin typeface="Avenir LT Std 45 Book" pitchFamily="34" charset="0"/>
                <a:sym typeface="Calibri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177" y="161467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3289" y="161467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>
          <a:xfrm>
            <a:off x="8313422" y="6578600"/>
            <a:ext cx="447993" cy="27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6306981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6" y="6656745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7" y="54387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361583" y="31319"/>
            <a:ext cx="399829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4454912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75" y="226485"/>
            <a:ext cx="8377238" cy="1272116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>
                <a:latin typeface="Avenir LT Std 45 Book" pitchFamily="34" charset="0"/>
                <a:sym typeface="Calibri"/>
              </a:defRPr>
            </a:lvl1pPr>
          </a:lstStyle>
          <a:p>
            <a:r>
              <a:rPr lang="en-GB"/>
              <a:t>Click to edi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177" y="161467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3289" y="161467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84177" y="410936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713289" y="4109367"/>
            <a:ext cx="40481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marR="0" indent="-228577" algn="l" defTabSz="91430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baseline="0">
                <a:latin typeface="Avenir LT Std 35 Light" pitchFamily="34" charset="0"/>
                <a:sym typeface="Calibri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[ ]</a:t>
            </a:r>
            <a:endParaRPr lang="en-GB" dirty="0"/>
          </a:p>
        </p:txBody>
      </p:sp>
      <p:sp>
        <p:nvSpPr>
          <p:cNvPr id="14" name="Rectangle 13"/>
          <p:cNvSpPr/>
          <p:nvPr/>
        </p:nvSpPr>
        <p:spPr>
          <a:xfrm>
            <a:off x="8313422" y="6578600"/>
            <a:ext cx="447993" cy="27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6" rIns="0" bIns="45716" rtlCol="0" anchor="ctr"/>
          <a:lstStyle/>
          <a:p>
            <a:pPr algn="r"/>
            <a:fld id="{4A92D465-875D-43B4-8302-B84A8FC94A2A}" type="slidenum">
              <a:rPr lang="en-GB" sz="800" smtClean="0">
                <a:solidFill>
                  <a:srgbClr val="5A5D60"/>
                </a:solidFill>
                <a:latin typeface="Avenir LT Std 35 Light" pitchFamily="34" charset="0"/>
              </a:rPr>
              <a:pPr algn="r"/>
              <a:t>‹#›</a:t>
            </a:fld>
            <a:endParaRPr lang="en-GB" sz="800" dirty="0">
              <a:solidFill>
                <a:srgbClr val="5A5D60"/>
              </a:solidFill>
              <a:latin typeface="Avenir LT Std 35 Light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175" y="6306981"/>
            <a:ext cx="8377238" cy="246221"/>
          </a:xfrm>
        </p:spPr>
        <p:txBody>
          <a:bodyPr wrap="square" anchor="b">
            <a:spAutoFit/>
          </a:bodyPr>
          <a:lstStyle>
            <a:lvl1pPr marL="409533" indent="-409533">
              <a:spcBef>
                <a:spcPts val="0"/>
              </a:spcBef>
              <a:tabLst>
                <a:tab pos="338103" algn="r"/>
                <a:tab pos="409533" algn="l"/>
              </a:tabLst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1pPr>
            <a:lvl2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2pPr>
            <a:lvl3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3pPr>
            <a:lvl4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4pPr>
            <a:lvl5pPr>
              <a:defRPr sz="800" b="0">
                <a:solidFill>
                  <a:schemeClr val="tx1"/>
                </a:solidFill>
                <a:latin typeface="Avenir LT Std 35 Light" pitchFamily="34" charset="0"/>
              </a:defRPr>
            </a:lvl5pPr>
          </a:lstStyle>
          <a:p>
            <a:pPr lvl="0"/>
            <a:r>
              <a:rPr lang="en-GB"/>
              <a:t>	Note:	Text is anchored to the bottom, enabling deletions or additions without having to move the box</a:t>
            </a:r>
          </a:p>
          <a:p>
            <a:pPr lvl="0"/>
            <a:r>
              <a:rPr lang="en-GB"/>
              <a:t>Source:	Source 8-point, non-bold</a:t>
            </a:r>
            <a:endParaRPr lang="en-GB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6" y="6656745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177" y="54387"/>
            <a:ext cx="3019425" cy="123111"/>
          </a:xfrm>
        </p:spPr>
        <p:txBody>
          <a:bodyPr wrap="square" anchor="ctr">
            <a:spAutoFit/>
          </a:bodyPr>
          <a:lstStyle>
            <a:lvl1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800" cap="all" baseline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Running Title</a:t>
            </a:r>
            <a:endParaRPr lang="en-GB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361583" y="31319"/>
            <a:ext cx="399829" cy="146923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txBody>
          <a:bodyPr wrap="none" lIns="0" rIns="0" anchor="ctr">
            <a:spAutoFit/>
          </a:bodyPr>
          <a:lstStyle>
            <a:lvl1pPr algn="r">
              <a:defRPr sz="800" b="0" cap="all"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b="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b="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b="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145778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9887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628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3274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6926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3174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1032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2883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vmlDrawing" Target="../drawings/vmlDrawing2.vml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3.emf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808682-66C1-AF4D-845A-DFF4B3B9A18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690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5" r:id="rId12"/>
    <p:sldLayoutId id="2147483676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374224471"/>
              </p:ext>
            </p:extLst>
          </p:nvPr>
        </p:nvGraphicFramePr>
        <p:xfrm>
          <a:off x="1588" y="2121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21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384175" y="1604436"/>
            <a:ext cx="8377238" cy="45254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84176" y="6656745"/>
            <a:ext cx="660717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822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</p:sldLayoutIdLst>
  <p:hf hdr="0" ftr="0" dt="0"/>
  <p:txStyles>
    <p:titleStyle>
      <a:lvl1pPr algn="l" defTabSz="914306" rtl="0" eaLnBrk="1" latinLnBrk="0" hangingPunct="1">
        <a:spcBef>
          <a:spcPct val="0"/>
        </a:spcBef>
        <a:buNone/>
        <a:defRPr sz="2400" kern="1200">
          <a:solidFill>
            <a:schemeClr val="accent1"/>
          </a:solidFill>
          <a:latin typeface="Avenir LT Std 45 Book" pitchFamily="34" charset="0"/>
          <a:ea typeface="+mj-ea"/>
          <a:cs typeface="+mj-cs"/>
        </a:defRPr>
      </a:lvl1pPr>
    </p:titleStyle>
    <p:bodyStyle>
      <a:lvl1pPr marL="0" indent="0" algn="l" defTabSz="914306" rtl="0" eaLnBrk="1" latinLnBrk="0" hangingPunct="1">
        <a:spcBef>
          <a:spcPct val="20000"/>
        </a:spcBef>
        <a:buFont typeface="Arial" pitchFamily="34" charset="0"/>
        <a:buNone/>
        <a:defRPr sz="1600" b="1" kern="1200">
          <a:solidFill>
            <a:schemeClr val="accent1"/>
          </a:solidFill>
          <a:latin typeface="Avenir LT Std 45 Book" pitchFamily="34" charset="0"/>
          <a:ea typeface="+mn-ea"/>
          <a:cs typeface="+mn-cs"/>
        </a:defRPr>
      </a:lvl1pPr>
      <a:lvl2pPr marL="179982" indent="-179982" algn="l" defTabSz="914306" rtl="0" eaLnBrk="1" latinLnBrk="0" hangingPunct="1">
        <a:spcBef>
          <a:spcPts val="6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2pPr>
      <a:lvl3pPr marL="359963" indent="-179982" algn="l" defTabSz="914306" rtl="0" eaLnBrk="1" latinLnBrk="0" hangingPunct="1">
        <a:spcBef>
          <a:spcPts val="6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3pPr>
      <a:lvl4pPr marL="539945" indent="-179982" algn="l" defTabSz="914306" rtl="0" eaLnBrk="1" latinLnBrk="0" hangingPunct="1">
        <a:spcBef>
          <a:spcPts val="6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4pPr>
      <a:lvl5pPr marL="719926" indent="-179982" algn="l" defTabSz="914306" rtl="0" eaLnBrk="1" latinLnBrk="0" hangingPunct="1">
        <a:spcBef>
          <a:spcPts val="600"/>
        </a:spcBef>
        <a:buFont typeface="Wingdings" pitchFamily="2" charset="2"/>
        <a:buChar char="Ø"/>
        <a:defRPr sz="1600" kern="1200">
          <a:solidFill>
            <a:schemeClr val="tx1"/>
          </a:solidFill>
          <a:latin typeface="Avenir LT Std 35 Light" pitchFamily="34" charset="0"/>
          <a:ea typeface="+mn-ea"/>
          <a:cs typeface="+mn-cs"/>
        </a:defRPr>
      </a:lvl5pPr>
      <a:lvl6pPr marL="2514343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95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49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02" indent="-228577" algn="l" defTabSz="9143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19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.xml"/><Relationship Id="rId7" Type="http://schemas.openxmlformats.org/officeDocument/2006/relationships/oleObject" Target="../embeddings/oleObject8.bin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10.png"/><Relationship Id="rId4" Type="http://schemas.openxmlformats.org/officeDocument/2006/relationships/tags" Target="../tags/tag10.xm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2.xml"/><Relationship Id="rId7" Type="http://schemas.openxmlformats.org/officeDocument/2006/relationships/image" Target="../media/image8.emf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4.xml"/><Relationship Id="rId7" Type="http://schemas.openxmlformats.org/officeDocument/2006/relationships/image" Target="../media/image8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16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2989" y="3988517"/>
            <a:ext cx="6477000" cy="429050"/>
          </a:xfrm>
        </p:spPr>
        <p:txBody>
          <a:bodyPr>
            <a:normAutofit lnSpcReduction="10000"/>
          </a:bodyPr>
          <a:lstStyle/>
          <a:p>
            <a:r>
              <a:rPr lang="en-US" dirty="0">
                <a:latin typeface="+mn-lt"/>
              </a:rPr>
              <a:t>MAY 2017</a:t>
            </a: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PLATFORM  ANALYTIC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83464" y="1631950"/>
            <a:ext cx="8799576" cy="1377950"/>
          </a:xfrm>
        </p:spPr>
        <p:txBody>
          <a:bodyPr/>
          <a:lstStyle/>
          <a:p>
            <a:pPr marL="0" indent="0">
              <a:buNone/>
            </a:pPr>
            <a:r>
              <a:rPr lang="en-IN" sz="3800" b="1" dirty="0">
                <a:latin typeface="+mj-lt"/>
              </a:rPr>
              <a:t>BF US discount sensitivity model</a:t>
            </a:r>
            <a:endParaRPr lang="en-US" sz="3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5262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4"/>
            </p:custDataLst>
          </p:nvPr>
        </p:nvSpPr>
        <p:spPr bwMode="auto">
          <a:xfrm>
            <a:off x="0" y="85725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047" y="457270"/>
            <a:ext cx="8845687" cy="383436"/>
          </a:xfrm>
        </p:spPr>
        <p:txBody>
          <a:bodyPr lIns="0" tIns="0" rIns="0" bIns="45716">
            <a:noAutofit/>
          </a:bodyPr>
          <a:lstStyle/>
          <a:p>
            <a:pPr algn="l" defTabSz="914306"/>
            <a:r>
              <a:rPr lang="en-US" sz="2400" dirty="0">
                <a:solidFill>
                  <a:schemeClr val="accent1"/>
                </a:solidFill>
              </a:rPr>
              <a:t>BACKGROUND</a:t>
            </a:r>
          </a:p>
        </p:txBody>
      </p:sp>
      <p:sp>
        <p:nvSpPr>
          <p:cNvPr id="3" name="Rectangle 2"/>
          <p:cNvSpPr/>
          <p:nvPr/>
        </p:nvSpPr>
        <p:spPr>
          <a:xfrm>
            <a:off x="4255401" y="5433670"/>
            <a:ext cx="219075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09575" y="5448300"/>
            <a:ext cx="400050" cy="26580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623840" y="4370956"/>
            <a:ext cx="4433900" cy="1357780"/>
            <a:chOff x="312071" y="2682428"/>
            <a:chExt cx="8645670" cy="1648025"/>
          </a:xfrm>
        </p:grpSpPr>
        <p:sp>
          <p:nvSpPr>
            <p:cNvPr id="15" name="Rounded Rectangle 14"/>
            <p:cNvSpPr/>
            <p:nvPr/>
          </p:nvSpPr>
          <p:spPr>
            <a:xfrm>
              <a:off x="312071" y="2682428"/>
              <a:ext cx="2074774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Data preparation</a:t>
              </a: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3184955" y="2682428"/>
              <a:ext cx="205196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Exploratory Analysis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6057838" y="2682428"/>
              <a:ext cx="2041038" cy="585788"/>
            </a:xfrm>
            <a:prstGeom prst="roundRect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r>
                <a:rPr lang="en-US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Scaling and Outlier Treatment</a:t>
              </a: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312071" y="3730376"/>
              <a:ext cx="7786804" cy="600077"/>
              <a:chOff x="228599" y="4191000"/>
              <a:chExt cx="7306220" cy="800102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19" name="Rectangle 41"/>
              <p:cNvSpPr/>
              <p:nvPr/>
            </p:nvSpPr>
            <p:spPr>
              <a:xfrm>
                <a:off x="5619750" y="4191000"/>
                <a:ext cx="1915069" cy="781050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Training</a:t>
                </a:r>
              </a:p>
            </p:txBody>
          </p:sp>
          <p:sp>
            <p:nvSpPr>
              <p:cNvPr id="20" name="Rectangle 44"/>
              <p:cNvSpPr/>
              <p:nvPr/>
            </p:nvSpPr>
            <p:spPr>
              <a:xfrm>
                <a:off x="2924175" y="4200525"/>
                <a:ext cx="1925325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Evaluation and Validation</a:t>
                </a:r>
              </a:p>
            </p:txBody>
          </p:sp>
          <p:sp>
            <p:nvSpPr>
              <p:cNvPr id="21" name="Rectangle 46"/>
              <p:cNvSpPr/>
              <p:nvPr/>
            </p:nvSpPr>
            <p:spPr>
              <a:xfrm>
                <a:off x="228599" y="4210051"/>
                <a:ext cx="1946723" cy="781051"/>
              </a:xfrm>
              <a:prstGeom prst="round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/>
              <a:lstStyle/>
              <a:p>
                <a:pPr algn="ctr"/>
                <a:r>
                  <a:rPr lang="en-US" sz="900" dirty="0">
                    <a:solidFill>
                      <a:schemeClr val="accent1">
                        <a:lumMod val="75000"/>
                      </a:schemeClr>
                    </a:solidFill>
                    <a:latin typeface="+mj-lt"/>
                  </a:rPr>
                  <a:t>Model Execution and Testing</a:t>
                </a:r>
              </a:p>
            </p:txBody>
          </p:sp>
        </p:grpSp>
        <p:sp>
          <p:nvSpPr>
            <p:cNvPr id="22" name="Right Arrow 21"/>
            <p:cNvSpPr/>
            <p:nvPr/>
          </p:nvSpPr>
          <p:spPr>
            <a:xfrm>
              <a:off x="2525524" y="2880908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3" name="Right Arrow 22"/>
            <p:cNvSpPr/>
            <p:nvPr/>
          </p:nvSpPr>
          <p:spPr>
            <a:xfrm>
              <a:off x="5378706" y="2883561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4" name="Right Arrow 23"/>
            <p:cNvSpPr/>
            <p:nvPr/>
          </p:nvSpPr>
          <p:spPr>
            <a:xfrm rot="10800000">
              <a:off x="5368629" y="3933887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 rot="10800000">
              <a:off x="2490624" y="3936540"/>
              <a:ext cx="489204" cy="207335"/>
            </a:xfrm>
            <a:prstGeom prst="righ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26" name="Curved Left Arrow 25"/>
            <p:cNvSpPr/>
            <p:nvPr/>
          </p:nvSpPr>
          <p:spPr>
            <a:xfrm>
              <a:off x="8247589" y="2975322"/>
              <a:ext cx="710152" cy="958565"/>
            </a:xfrm>
            <a:prstGeom prst="curvedLeftArrow">
              <a:avLst/>
            </a:prstGeom>
            <a:ln w="1270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/>
            <a:lstStyle/>
            <a:p>
              <a:pPr algn="ctr"/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</p:txBody>
        </p:sp>
      </p:grpSp>
      <p:graphicFrame>
        <p:nvGraphicFramePr>
          <p:cNvPr id="63" name="Table 62"/>
          <p:cNvGraphicFramePr>
            <a:graphicFrameLocks noGrp="1"/>
          </p:cNvGraphicFramePr>
          <p:nvPr>
            <p:extLst/>
          </p:nvPr>
        </p:nvGraphicFramePr>
        <p:xfrm>
          <a:off x="4646303" y="3105686"/>
          <a:ext cx="4365478" cy="102079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5106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548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 dirty="0">
                          <a:effectLst/>
                        </a:rPr>
                        <a:t>Algorithms</a:t>
                      </a:r>
                      <a:endParaRPr lang="en-US" sz="900" b="0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 dirty="0">
                          <a:effectLst/>
                        </a:rPr>
                        <a:t>Library</a:t>
                      </a:r>
                      <a:endParaRPr lang="en-US" sz="900" b="0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Ensemble Leaners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0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xgboost, ada, adabag,  gbm, randomForest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Support Vector Machines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kernlab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Logistic Regression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415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Deep Learning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mxnet, h2o, tensorflow,</a:t>
                      </a:r>
                      <a:r>
                        <a:rPr lang="en-US" sz="90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 darch, scikit-learn</a:t>
                      </a:r>
                      <a:endParaRPr lang="en-US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4662168" y="1446558"/>
            <a:ext cx="4355709" cy="6463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efinitions: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Response: customers taking above 35% of gross sales as  discounts  in an year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Response score: Probability of a customer to search discount above 35% to make purchase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4669227" y="2267924"/>
            <a:ext cx="4343395" cy="662023"/>
            <a:chOff x="4623987" y="935864"/>
            <a:chExt cx="4136740" cy="547077"/>
          </a:xfrm>
        </p:grpSpPr>
        <p:sp>
          <p:nvSpPr>
            <p:cNvPr id="39" name="Rectangle 38"/>
            <p:cNvSpPr/>
            <p:nvPr/>
          </p:nvSpPr>
          <p:spPr>
            <a:xfrm>
              <a:off x="5622637" y="938677"/>
              <a:ext cx="1525883" cy="240261"/>
            </a:xfrm>
            <a:prstGeom prst="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Transactions &amp; Browse Data</a:t>
              </a:r>
            </a:p>
            <a:p>
              <a:pPr algn="ctr"/>
              <a:r>
                <a:rPr lang="en-US" sz="800" dirty="0">
                  <a:latin typeface="+mj-lt"/>
                </a:rPr>
                <a:t>Mar2015-Feb2016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7186312" y="935864"/>
              <a:ext cx="1573197" cy="240261"/>
            </a:xfrm>
            <a:prstGeom prst="rect">
              <a:avLst/>
            </a:prstGeom>
            <a:ln w="1270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 Data</a:t>
              </a:r>
            </a:p>
            <a:p>
              <a:pPr algn="ctr"/>
              <a:r>
                <a:rPr lang="en-US" sz="800" dirty="0">
                  <a:latin typeface="+mj-lt"/>
                </a:rPr>
                <a:t>Mar2016-Feb2017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5623855" y="1241797"/>
              <a:ext cx="1525883" cy="240261"/>
            </a:xfrm>
            <a:prstGeom prst="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Transactions &amp; Browse Data</a:t>
              </a:r>
            </a:p>
            <a:p>
              <a:pPr algn="ctr"/>
              <a:r>
                <a:rPr lang="en-US" sz="800" dirty="0"/>
                <a:t>Jun2014-Jul2015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7187530" y="1241797"/>
              <a:ext cx="1573197" cy="241144"/>
            </a:xfrm>
            <a:prstGeom prst="rect">
              <a:avLst/>
            </a:prstGeom>
            <a:ln w="1270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latin typeface="+mj-lt"/>
                </a:rPr>
                <a:t>Purchase Data</a:t>
              </a:r>
            </a:p>
            <a:p>
              <a:pPr algn="ctr"/>
              <a:r>
                <a:rPr lang="en-US" sz="800" dirty="0"/>
                <a:t>JUl2015-Jun2016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4627274" y="940357"/>
              <a:ext cx="947453" cy="235768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+mj-lt"/>
                </a:rPr>
                <a:t>Training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4623987" y="1243477"/>
              <a:ext cx="947453" cy="238581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  <a:latin typeface="+mj-lt"/>
                </a:rPr>
                <a:t>Validation</a:t>
              </a:r>
            </a:p>
          </p:txBody>
        </p:sp>
      </p:grpSp>
      <p:sp>
        <p:nvSpPr>
          <p:cNvPr id="46" name="Rectangle 45"/>
          <p:cNvSpPr/>
          <p:nvPr/>
        </p:nvSpPr>
        <p:spPr>
          <a:xfrm>
            <a:off x="4890310" y="4945072"/>
            <a:ext cx="3386129" cy="221552"/>
          </a:xfrm>
          <a:prstGeom prst="rect">
            <a:avLst/>
          </a:prstGeom>
          <a:ln w="1270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45720" rIns="45720" rtlCol="0" anchor="ctr"/>
          <a:lstStyle/>
          <a:p>
            <a:pPr algn="ctr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Dataset Size involved :  3.3 M (Customer Keys), Response – 3.8%</a:t>
            </a:r>
          </a:p>
        </p:txBody>
      </p:sp>
      <p:sp>
        <p:nvSpPr>
          <p:cNvPr id="5" name="Rectangle 4"/>
          <p:cNvSpPr/>
          <p:nvPr/>
        </p:nvSpPr>
        <p:spPr>
          <a:xfrm>
            <a:off x="5767378" y="2131304"/>
            <a:ext cx="1516734" cy="1366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Historical behavior</a:t>
            </a:r>
          </a:p>
        </p:txBody>
      </p:sp>
      <p:sp>
        <p:nvSpPr>
          <p:cNvPr id="42" name="Rectangle 41"/>
          <p:cNvSpPr/>
          <p:nvPr/>
        </p:nvSpPr>
        <p:spPr>
          <a:xfrm>
            <a:off x="7305811" y="2131288"/>
            <a:ext cx="1516734" cy="1366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Response Window</a:t>
            </a:r>
          </a:p>
        </p:txBody>
      </p:sp>
      <p:pic>
        <p:nvPicPr>
          <p:cNvPr id="703788" name="Picture 300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1" t="6907" r="861" b="3505"/>
          <a:stretch/>
        </p:blipFill>
        <p:spPr bwMode="auto">
          <a:xfrm>
            <a:off x="301224" y="2792120"/>
            <a:ext cx="3767248" cy="1022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3789" name="Picture 301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921"/>
          <a:stretch/>
        </p:blipFill>
        <p:spPr bwMode="auto">
          <a:xfrm flipH="1">
            <a:off x="301224" y="3867932"/>
            <a:ext cx="3751990" cy="1866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Rectangle 48"/>
          <p:cNvSpPr/>
          <p:nvPr/>
        </p:nvSpPr>
        <p:spPr>
          <a:xfrm>
            <a:off x="211889" y="1411049"/>
            <a:ext cx="3841325" cy="1338828"/>
          </a:xfrm>
          <a:prstGeom prst="rect">
            <a:avLst/>
          </a:prstGeom>
          <a:ln w="1905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bjective: </a:t>
            </a:r>
          </a:p>
          <a:p>
            <a:pPr lvl="0"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Every year company shells out billions of $ in various discounts offered.</a:t>
            </a:r>
          </a:p>
          <a:p>
            <a:pPr lvl="0"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Not all Customers have affinity towards discounts to make a purchase.</a:t>
            </a:r>
          </a:p>
          <a:p>
            <a:pPr lvl="0"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his creates an opportunity to improve margin by offering relevant discounts to customers based on how discount sensitive they are.</a:t>
            </a:r>
          </a:p>
          <a:p>
            <a:pPr lvl="0" algn="just"/>
            <a:endParaRPr lang="en-US" sz="8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lvl="0"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he whole exercise will help in: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Increasing Revenue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Saving Cost</a:t>
            </a:r>
          </a:p>
        </p:txBody>
      </p:sp>
    </p:spTree>
    <p:extLst>
      <p:ext uri="{BB962C8B-B14F-4D97-AF65-F5344CB8AC3E}">
        <p14:creationId xmlns:p14="http://schemas.microsoft.com/office/powerpoint/2010/main" val="39498697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85725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7" y="337999"/>
            <a:ext cx="8845687" cy="464147"/>
          </a:xfrm>
        </p:spPr>
        <p:txBody>
          <a:bodyPr lIns="0" tIns="0" rIns="0" bIns="45716"/>
          <a:lstStyle/>
          <a:p>
            <a:pPr algn="l" defTabSz="914306"/>
            <a:r>
              <a:rPr lang="en-US" sz="2400" dirty="0">
                <a:solidFill>
                  <a:schemeClr val="accent1"/>
                </a:solidFill>
                <a:latin typeface="+mn-lt"/>
              </a:rPr>
              <a:t>PREDICTORS AND RELATIVE IMPORTANC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0049" y="1002703"/>
            <a:ext cx="4199916" cy="487710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35789" y="1011101"/>
            <a:ext cx="3880884" cy="3836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4479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85725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Avenir LT Std 35 Light"/>
              <a:sym typeface="Avenir LT Std 3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677" y="589793"/>
            <a:ext cx="8845687" cy="423903"/>
          </a:xfrm>
        </p:spPr>
        <p:txBody>
          <a:bodyPr lIns="0" tIns="0" rIns="0" bIns="45716"/>
          <a:lstStyle/>
          <a:p>
            <a:pPr algn="l" defTabSz="914306"/>
            <a:r>
              <a:rPr lang="en-US" sz="2400" dirty="0">
                <a:solidFill>
                  <a:schemeClr val="accent1"/>
                </a:solidFill>
                <a:latin typeface="+mn-lt"/>
              </a:rPr>
              <a:t>MODEL RESULTS - VALIDATIONS JUL 15-JUN 16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50713" y="3530542"/>
            <a:ext cx="8435477" cy="507831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9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Model Summary: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mong many models , GBM algorithm was picked based on model performance.</a:t>
            </a:r>
          </a:p>
          <a:p>
            <a:pPr algn="just"/>
            <a:r>
              <a: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ut of 2000 GBM models, best 20 have been picked and data is scored . Ensemble of median score was taken as final probability which was used for validat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425669" y="4246836"/>
            <a:ext cx="1938528" cy="134894"/>
          </a:xfrm>
          <a:prstGeom prst="rect">
            <a:avLst/>
          </a:prstGeom>
          <a:ln w="31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500" dirty="0"/>
              <a:t>Response Rate across  deciles  by  median score from 20 model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680069" y="4246841"/>
            <a:ext cx="1938528" cy="134894"/>
          </a:xfrm>
          <a:prstGeom prst="rect">
            <a:avLst/>
          </a:prstGeom>
          <a:ln w="31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500" dirty="0"/>
              <a:t>Response Rate across  percentiles by  median score from 20 model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971254" y="4246846"/>
            <a:ext cx="1471589" cy="134894"/>
          </a:xfrm>
          <a:prstGeom prst="rect">
            <a:avLst/>
          </a:prstGeom>
          <a:ln w="31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500" dirty="0"/>
              <a:t>Cum Gains  using median score from 20 model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073259" y="4246851"/>
            <a:ext cx="1660836" cy="134894"/>
          </a:xfrm>
          <a:prstGeom prst="rect">
            <a:avLst/>
          </a:prstGeom>
          <a:ln w="31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500" dirty="0"/>
              <a:t>Cum Lift using median score from 20 model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82707" y="4422353"/>
            <a:ext cx="1915054" cy="132906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00180" y="4419395"/>
            <a:ext cx="2036207" cy="143827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6984" y="4427345"/>
            <a:ext cx="2036207" cy="143827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716150" y="4484772"/>
            <a:ext cx="1851097" cy="1307521"/>
          </a:xfrm>
          <a:prstGeom prst="rect">
            <a:avLst/>
          </a:prstGeom>
        </p:spPr>
      </p:pic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011214"/>
              </p:ext>
            </p:extLst>
          </p:nvPr>
        </p:nvGraphicFramePr>
        <p:xfrm>
          <a:off x="457200" y="1116734"/>
          <a:ext cx="8229601" cy="209209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3550">
                  <a:extLst>
                    <a:ext uri="{9D8B030D-6E8A-4147-A177-3AD203B41FA5}">
                      <a16:colId xmlns:a16="http://schemas.microsoft.com/office/drawing/2014/main" val="1744457876"/>
                    </a:ext>
                  </a:extLst>
                </a:gridCol>
                <a:gridCol w="1177186">
                  <a:extLst>
                    <a:ext uri="{9D8B030D-6E8A-4147-A177-3AD203B41FA5}">
                      <a16:colId xmlns:a16="http://schemas.microsoft.com/office/drawing/2014/main" val="3848965999"/>
                    </a:ext>
                  </a:extLst>
                </a:gridCol>
                <a:gridCol w="1166484">
                  <a:extLst>
                    <a:ext uri="{9D8B030D-6E8A-4147-A177-3AD203B41FA5}">
                      <a16:colId xmlns:a16="http://schemas.microsoft.com/office/drawing/2014/main" val="2272474127"/>
                    </a:ext>
                  </a:extLst>
                </a:gridCol>
                <a:gridCol w="1262799">
                  <a:extLst>
                    <a:ext uri="{9D8B030D-6E8A-4147-A177-3AD203B41FA5}">
                      <a16:colId xmlns:a16="http://schemas.microsoft.com/office/drawing/2014/main" val="1601939919"/>
                    </a:ext>
                  </a:extLst>
                </a:gridCol>
                <a:gridCol w="794601">
                  <a:extLst>
                    <a:ext uri="{9D8B030D-6E8A-4147-A177-3AD203B41FA5}">
                      <a16:colId xmlns:a16="http://schemas.microsoft.com/office/drawing/2014/main" val="3903589682"/>
                    </a:ext>
                  </a:extLst>
                </a:gridCol>
                <a:gridCol w="1164396">
                  <a:extLst>
                    <a:ext uri="{9D8B030D-6E8A-4147-A177-3AD203B41FA5}">
                      <a16:colId xmlns:a16="http://schemas.microsoft.com/office/drawing/2014/main" val="3750222876"/>
                    </a:ext>
                  </a:extLst>
                </a:gridCol>
                <a:gridCol w="1351721">
                  <a:extLst>
                    <a:ext uri="{9D8B030D-6E8A-4147-A177-3AD203B41FA5}">
                      <a16:colId xmlns:a16="http://schemas.microsoft.com/office/drawing/2014/main" val="1540304021"/>
                    </a:ext>
                  </a:extLst>
                </a:gridCol>
                <a:gridCol w="838864">
                  <a:extLst>
                    <a:ext uri="{9D8B030D-6E8A-4147-A177-3AD203B41FA5}">
                      <a16:colId xmlns:a16="http://schemas.microsoft.com/office/drawing/2014/main" val="895093482"/>
                    </a:ext>
                  </a:extLst>
                </a:gridCol>
              </a:tblGrid>
              <a:tr h="233601">
                <a:tc>
                  <a:txBody>
                    <a:bodyPr/>
                    <a:lstStyle/>
                    <a:p>
                      <a:pPr marL="0" algn="ctr" defTabSz="914306" rtl="0" eaLnBrk="1" fontAlgn="b" latinLnBrk="0" hangingPunct="1"/>
                      <a:r>
                        <a:rPr lang="en-US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cile</a:t>
                      </a:r>
                    </a:p>
                  </a:txBody>
                  <a:tcPr marL="8037" marR="8037" marT="8037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6" rtl="0" eaLnBrk="1" fontAlgn="b" latinLnBrk="0" hangingPunct="1"/>
                      <a:r>
                        <a:rPr lang="en-US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Customers</a:t>
                      </a:r>
                    </a:p>
                  </a:txBody>
                  <a:tcPr marL="8037" marR="8037" marT="8037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6" rtl="0" eaLnBrk="1" fontAlgn="b" latinLnBrk="0" hangingPunct="1"/>
                      <a:r>
                        <a:rPr lang="en-US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Responders</a:t>
                      </a:r>
                    </a:p>
                  </a:txBody>
                  <a:tcPr marL="8037" marR="8037" marT="8037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6" rtl="0" eaLnBrk="1" fontAlgn="b" latinLnBrk="0" hangingPunct="1"/>
                      <a:r>
                        <a:rPr lang="en-US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mulative Responders</a:t>
                      </a:r>
                    </a:p>
                  </a:txBody>
                  <a:tcPr marL="8037" marR="8037" marT="8037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6" rtl="0" eaLnBrk="1" fontAlgn="b" latinLnBrk="0" hangingPunct="1"/>
                      <a:r>
                        <a:rPr lang="en-US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ponse Rate</a:t>
                      </a:r>
                    </a:p>
                  </a:txBody>
                  <a:tcPr marL="8037" marR="8037" marT="8037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6" rtl="0" eaLnBrk="1" fontAlgn="b" latinLnBrk="0" hangingPunct="1"/>
                      <a:r>
                        <a:rPr lang="en-US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 Responders Captured</a:t>
                      </a:r>
                    </a:p>
                  </a:txBody>
                  <a:tcPr marL="8037" marR="8037" marT="8037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6" rtl="0" eaLnBrk="1" fontAlgn="b" latinLnBrk="0" hangingPunct="1"/>
                      <a:r>
                        <a:rPr lang="en-US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mulative Response Rate</a:t>
                      </a:r>
                    </a:p>
                  </a:txBody>
                  <a:tcPr marL="8037" marR="8037" marT="8037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6" rtl="0" eaLnBrk="1" fontAlgn="b" latinLnBrk="0" hangingPunct="1"/>
                      <a:r>
                        <a:rPr lang="en-US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mulative Lift</a:t>
                      </a:r>
                    </a:p>
                  </a:txBody>
                  <a:tcPr marL="8037" marR="8037" marT="8037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249661"/>
                  </a:ext>
                </a:extLst>
              </a:tr>
              <a:tr h="185849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34,297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68,994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68,994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0.6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54.9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20.6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5.49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1744630929"/>
                  </a:ext>
                </a:extLst>
              </a:tr>
              <a:tr h="185849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34,298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1,817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90,811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6.5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72.3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13.6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.61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249214842"/>
                  </a:ext>
                </a:extLst>
              </a:tr>
              <a:tr h="185849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34,297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2,429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03,240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3.7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82.2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10.3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.74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2448194545"/>
                  </a:ext>
                </a:extLst>
              </a:tr>
              <a:tr h="185849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34,298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7,593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10,833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2.3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88.2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8.3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.21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101313460"/>
                  </a:ext>
                </a:extLst>
              </a:tr>
              <a:tr h="185849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34,297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4,890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15,723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1.5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92.1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6.9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.84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1878427174"/>
                  </a:ext>
                </a:extLst>
              </a:tr>
              <a:tr h="185849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34,298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,515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19,238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1.1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94.9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5.9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.58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2591105855"/>
                  </a:ext>
                </a:extLst>
              </a:tr>
              <a:tr h="185849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7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34,297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2,491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21,729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0.7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96.9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5.2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.38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3289341351"/>
                  </a:ext>
                </a:extLst>
              </a:tr>
              <a:tr h="185849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8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34,298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,813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23,542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0.5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98.3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4.6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.23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1893906774"/>
                  </a:ext>
                </a:extLst>
              </a:tr>
              <a:tr h="185849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34,297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,324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24,866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0.4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99.4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4.2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.10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528308501"/>
                  </a:ext>
                </a:extLst>
              </a:tr>
              <a:tr h="185849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1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34,298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783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25,649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0.2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00.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3.8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</a:rPr>
                        <a:t>1.00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7" marR="8037" marT="8037" marB="0" anchor="b"/>
                </a:tc>
                <a:extLst>
                  <a:ext uri="{0D108BD9-81ED-4DB2-BD59-A6C34878D82A}">
                    <a16:rowId xmlns:a16="http://schemas.microsoft.com/office/drawing/2014/main" val="29651015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4481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b="1" dirty="0">
                <a:latin typeface="+mj-lt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3530911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tyuF2wiUG6ZPxGjJdc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Theme">
  <a:themeElements>
    <a:clrScheme name="Custom 61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08CC2"/>
      </a:accent1>
      <a:accent2>
        <a:srgbClr val="25B7E0"/>
      </a:accent2>
      <a:accent3>
        <a:srgbClr val="5A5D60"/>
      </a:accent3>
      <a:accent4>
        <a:srgbClr val="6F5091"/>
      </a:accent4>
      <a:accent5>
        <a:srgbClr val="FC9A2D"/>
      </a:accent5>
      <a:accent6>
        <a:srgbClr val="F57E4D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Custom 61">
    <a:dk1>
      <a:srgbClr val="000000"/>
    </a:dk1>
    <a:lt1>
      <a:sysClr val="window" lastClr="FFFFFF"/>
    </a:lt1>
    <a:dk2>
      <a:srgbClr val="000000"/>
    </a:dk2>
    <a:lt2>
      <a:srgbClr val="FFFFFF"/>
    </a:lt2>
    <a:accent1>
      <a:srgbClr val="008CC2"/>
    </a:accent1>
    <a:accent2>
      <a:srgbClr val="25B7E0"/>
    </a:accent2>
    <a:accent3>
      <a:srgbClr val="5A5D60"/>
    </a:accent3>
    <a:accent4>
      <a:srgbClr val="6F5091"/>
    </a:accent4>
    <a:accent5>
      <a:srgbClr val="FC9A2D"/>
    </a:accent5>
    <a:accent6>
      <a:srgbClr val="F57E4D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94</TotalTime>
  <Words>413</Words>
  <Application>Microsoft Office PowerPoint</Application>
  <PresentationFormat>Letter Paper (8.5x11 in)</PresentationFormat>
  <Paragraphs>145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8" baseType="lpstr">
      <vt:lpstr>Arial</vt:lpstr>
      <vt:lpstr>Avenir Black</vt:lpstr>
      <vt:lpstr>Avenir Light</vt:lpstr>
      <vt:lpstr>Avenir LT Std 35 Light</vt:lpstr>
      <vt:lpstr>Avenir LT Std 45 Book</vt:lpstr>
      <vt:lpstr>Avenir LT Std 65 Medium</vt:lpstr>
      <vt:lpstr>Avenir LT Std 95 Black</vt:lpstr>
      <vt:lpstr>AvenirNext LT Pro Regular</vt:lpstr>
      <vt:lpstr>Calibri</vt:lpstr>
      <vt:lpstr>Wingdings</vt:lpstr>
      <vt:lpstr>Office Theme</vt:lpstr>
      <vt:lpstr>2_Office Theme</vt:lpstr>
      <vt:lpstr>think-cell Slide</vt:lpstr>
      <vt:lpstr>PowerPoint Presentation</vt:lpstr>
      <vt:lpstr>BACKGROUND</vt:lpstr>
      <vt:lpstr>PREDICTORS AND RELATIVE IMPORTANCE</vt:lpstr>
      <vt:lpstr>MODEL RESULTS - VALIDATIONS JUL 15-JUN 16</vt:lpstr>
      <vt:lpstr>PowerPoint Presentation</vt:lpstr>
    </vt:vector>
  </TitlesOfParts>
  <Company>Gap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M Analytics</dc:title>
  <dc:creator>Business Partner</dc:creator>
  <cp:lastModifiedBy>Mithun Ghosh</cp:lastModifiedBy>
  <cp:revision>255</cp:revision>
  <cp:lastPrinted>2015-01-13T20:57:50Z</cp:lastPrinted>
  <dcterms:created xsi:type="dcterms:W3CDTF">2014-12-19T17:39:01Z</dcterms:created>
  <dcterms:modified xsi:type="dcterms:W3CDTF">2017-05-18T05:36:26Z</dcterms:modified>
</cp:coreProperties>
</file>